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6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B6D525-2A2F-02BA-C0C1-9D950E50BB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0556F8-39C2-746B-D93B-66C21ED3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7EDBBCF-3617-E5F5-FB44-0CB852BBB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eemap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56B90A-399C-ED1F-E57C-5DFC57BCBCDF}"/>
              </a:ext>
            </a:extLst>
          </p:cNvPr>
          <p:cNvSpPr/>
          <p:nvPr/>
        </p:nvSpPr>
        <p:spPr>
          <a:xfrm>
            <a:off x="458797" y="1402044"/>
            <a:ext cx="10946708" cy="4022315"/>
          </a:xfrm>
          <a:prstGeom prst="rect">
            <a:avLst/>
          </a:prstGeom>
          <a:solidFill>
            <a:schemeClr val="accent4"/>
          </a:solidFill>
          <a:ln w="254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3" dirty="0"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92C79A-CC1E-34FF-26CA-43E43EABE992}"/>
              </a:ext>
            </a:extLst>
          </p:cNvPr>
          <p:cNvSpPr/>
          <p:nvPr/>
        </p:nvSpPr>
        <p:spPr>
          <a:xfrm>
            <a:off x="458795" y="2220098"/>
            <a:ext cx="8720376" cy="3204262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254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3" dirty="0"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793306-5ABD-1A65-C3D5-5A73DB6BA3D1}"/>
              </a:ext>
            </a:extLst>
          </p:cNvPr>
          <p:cNvSpPr/>
          <p:nvPr/>
        </p:nvSpPr>
        <p:spPr>
          <a:xfrm>
            <a:off x="458791" y="3059558"/>
            <a:ext cx="6190871" cy="2364799"/>
          </a:xfrm>
          <a:prstGeom prst="rect">
            <a:avLst/>
          </a:prstGeom>
          <a:solidFill>
            <a:schemeClr val="accent3"/>
          </a:solidFill>
          <a:ln w="254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3" dirty="0"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E3420-32CA-2B06-A1C9-552D69A4951F}"/>
              </a:ext>
            </a:extLst>
          </p:cNvPr>
          <p:cNvSpPr/>
          <p:nvPr/>
        </p:nvSpPr>
        <p:spPr>
          <a:xfrm>
            <a:off x="458788" y="3916622"/>
            <a:ext cx="3738288" cy="1507740"/>
          </a:xfrm>
          <a:prstGeom prst="rect">
            <a:avLst/>
          </a:prstGeom>
          <a:solidFill>
            <a:schemeClr val="tx2"/>
          </a:solidFill>
          <a:ln w="254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3" dirty="0"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3C40B6-5BDE-9742-9D35-628FB164E277}"/>
              </a:ext>
            </a:extLst>
          </p:cNvPr>
          <p:cNvSpPr txBox="1"/>
          <p:nvPr/>
        </p:nvSpPr>
        <p:spPr>
          <a:xfrm>
            <a:off x="9350152" y="1705884"/>
            <a:ext cx="2044684" cy="22657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rgbClr val="FFFFFF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0CBEF8-7E2F-5EBB-04DE-5FEAC3C95FF8}"/>
              </a:ext>
            </a:extLst>
          </p:cNvPr>
          <p:cNvSpPr txBox="1"/>
          <p:nvPr/>
        </p:nvSpPr>
        <p:spPr>
          <a:xfrm>
            <a:off x="1330435" y="5590028"/>
            <a:ext cx="2044684" cy="22657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5E95CE-206E-1DCF-E35E-73DB60D8252E}"/>
              </a:ext>
            </a:extLst>
          </p:cNvPr>
          <p:cNvSpPr txBox="1"/>
          <p:nvPr/>
        </p:nvSpPr>
        <p:spPr>
          <a:xfrm>
            <a:off x="4385039" y="5590028"/>
            <a:ext cx="2044684" cy="22657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B0F7E3-807F-CF68-EFAC-04775A9FAC6B}"/>
              </a:ext>
            </a:extLst>
          </p:cNvPr>
          <p:cNvSpPr txBox="1"/>
          <p:nvPr/>
        </p:nvSpPr>
        <p:spPr>
          <a:xfrm>
            <a:off x="6917189" y="5590028"/>
            <a:ext cx="2044684" cy="22657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ACC1A4-7E2D-2BDB-E998-9E856D64C5AA}"/>
              </a:ext>
            </a:extLst>
          </p:cNvPr>
          <p:cNvSpPr/>
          <p:nvPr/>
        </p:nvSpPr>
        <p:spPr>
          <a:xfrm>
            <a:off x="458796" y="1402062"/>
            <a:ext cx="10946648" cy="4022294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3" dirty="0"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F4E754-9A18-72BC-D8C8-4CED835FD3EB}"/>
              </a:ext>
            </a:extLst>
          </p:cNvPr>
          <p:cNvSpPr txBox="1"/>
          <p:nvPr/>
        </p:nvSpPr>
        <p:spPr>
          <a:xfrm>
            <a:off x="4909775" y="3245135"/>
            <a:ext cx="2044684" cy="22657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37C598-94F0-665C-49DF-7B008188BD48}"/>
              </a:ext>
            </a:extLst>
          </p:cNvPr>
          <p:cNvSpPr txBox="1"/>
          <p:nvPr/>
        </p:nvSpPr>
        <p:spPr>
          <a:xfrm>
            <a:off x="2327935" y="4128674"/>
            <a:ext cx="2044684" cy="22657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359DA13-114A-CCC3-9532-4B16D7A528A3}"/>
              </a:ext>
            </a:extLst>
          </p:cNvPr>
          <p:cNvSpPr/>
          <p:nvPr/>
        </p:nvSpPr>
        <p:spPr>
          <a:xfrm>
            <a:off x="458796" y="1143001"/>
            <a:ext cx="11429993" cy="4281367"/>
          </a:xfrm>
          <a:custGeom>
            <a:avLst/>
            <a:gdLst>
              <a:gd name="connsiteX0" fmla="*/ 0 w 3695700"/>
              <a:gd name="connsiteY0" fmla="*/ 0 h 2735580"/>
              <a:gd name="connsiteX1" fmla="*/ 0 w 3695700"/>
              <a:gd name="connsiteY1" fmla="*/ 2735580 h 2735580"/>
              <a:gd name="connsiteX2" fmla="*/ 3695700 w 3695700"/>
              <a:gd name="connsiteY2" fmla="*/ 2735580 h 2735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95700" h="2735580">
                <a:moveTo>
                  <a:pt x="0" y="0"/>
                </a:moveTo>
                <a:lnTo>
                  <a:pt x="0" y="2735580"/>
                </a:lnTo>
                <a:lnTo>
                  <a:pt x="3695700" y="2735580"/>
                </a:lnTo>
              </a:path>
            </a:pathLst>
          </a:custGeom>
          <a:noFill/>
          <a:ln w="12700">
            <a:solidFill>
              <a:srgbClr val="A9A9A9"/>
            </a:solidFill>
            <a:headEnd type="stealth" w="lg" len="med"/>
            <a:tailEnd type="stealth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593" dirty="0"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0E6796-48EA-49BE-B79B-B425E30590A6}"/>
              </a:ext>
            </a:extLst>
          </p:cNvPr>
          <p:cNvSpPr txBox="1"/>
          <p:nvPr/>
        </p:nvSpPr>
        <p:spPr>
          <a:xfrm>
            <a:off x="6954458" y="2382312"/>
            <a:ext cx="2044684" cy="22657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4540130-1706-526A-22F5-ED41AB7CB688}"/>
              </a:ext>
            </a:extLst>
          </p:cNvPr>
          <p:cNvSpPr txBox="1"/>
          <p:nvPr/>
        </p:nvSpPr>
        <p:spPr>
          <a:xfrm>
            <a:off x="9306185" y="5590028"/>
            <a:ext cx="2044684" cy="22657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1576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94468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8</TotalTime>
  <Words>10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reema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01</cp:revision>
  <dcterms:created xsi:type="dcterms:W3CDTF">2021-03-31T02:49:57Z</dcterms:created>
  <dcterms:modified xsi:type="dcterms:W3CDTF">2025-10-16T11:33:19Z</dcterms:modified>
  <cp:category/>
</cp:coreProperties>
</file>